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34"/>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7" r:id="rId42"/>
    <p:sldId id="1003" r:id="rId43"/>
    <p:sldId id="611" r:id="rId44"/>
    <p:sldId id="948" r:id="rId45"/>
    <p:sldId id="612" r:id="rId46"/>
    <p:sldId id="613" r:id="rId47"/>
    <p:sldId id="614" r:id="rId48"/>
    <p:sldId id="616" r:id="rId49"/>
    <p:sldId id="949" r:id="rId50"/>
    <p:sldId id="950" r:id="rId51"/>
    <p:sldId id="951" r:id="rId52"/>
    <p:sldId id="952" r:id="rId53"/>
    <p:sldId id="955" r:id="rId54"/>
    <p:sldId id="953" r:id="rId55"/>
    <p:sldId id="1012" r:id="rId56"/>
    <p:sldId id="1016" r:id="rId57"/>
    <p:sldId id="1013" r:id="rId58"/>
    <p:sldId id="1014" r:id="rId59"/>
    <p:sldId id="1015" r:id="rId60"/>
    <p:sldId id="1018" r:id="rId61"/>
    <p:sldId id="1043" r:id="rId62"/>
    <p:sldId id="1019" r:id="rId63"/>
    <p:sldId id="1071" r:id="rId64"/>
    <p:sldId id="1036" r:id="rId65"/>
    <p:sldId id="1037" r:id="rId66"/>
    <p:sldId id="1038" r:id="rId67"/>
    <p:sldId id="1040" r:id="rId68"/>
    <p:sldId id="1020" r:id="rId69"/>
    <p:sldId id="1021" r:id="rId70"/>
    <p:sldId id="1022" r:id="rId71"/>
    <p:sldId id="1023" r:id="rId72"/>
    <p:sldId id="1024" r:id="rId73"/>
    <p:sldId id="1025" r:id="rId74"/>
    <p:sldId id="1026" r:id="rId75"/>
    <p:sldId id="1027" r:id="rId76"/>
    <p:sldId id="1030" r:id="rId77"/>
    <p:sldId id="1031" r:id="rId78"/>
    <p:sldId id="1044" r:id="rId79"/>
    <p:sldId id="1042" r:id="rId80"/>
    <p:sldId id="1039" r:id="rId81"/>
    <p:sldId id="1032" r:id="rId82"/>
    <p:sldId id="1033" r:id="rId83"/>
    <p:sldId id="1034" r:id="rId84"/>
    <p:sldId id="1045" r:id="rId85"/>
    <p:sldId id="1035" r:id="rId86"/>
    <p:sldId id="1046" r:id="rId87"/>
    <p:sldId id="1047" r:id="rId88"/>
    <p:sldId id="1028" r:id="rId89"/>
    <p:sldId id="1048" r:id="rId90"/>
    <p:sldId id="1049" r:id="rId91"/>
    <p:sldId id="1050" r:id="rId92"/>
    <p:sldId id="1051" r:id="rId93"/>
    <p:sldId id="1052" r:id="rId94"/>
    <p:sldId id="1029" r:id="rId95"/>
    <p:sldId id="1053" r:id="rId96"/>
    <p:sldId id="1054" r:id="rId97"/>
    <p:sldId id="1055" r:id="rId98"/>
    <p:sldId id="1056" r:id="rId99"/>
    <p:sldId id="1057" r:id="rId100"/>
    <p:sldId id="1072" r:id="rId101"/>
    <p:sldId id="1060" r:id="rId102"/>
    <p:sldId id="1062" r:id="rId103"/>
    <p:sldId id="1064" r:id="rId104"/>
    <p:sldId id="1061" r:id="rId105"/>
    <p:sldId id="1065" r:id="rId106"/>
    <p:sldId id="1066" r:id="rId107"/>
    <p:sldId id="1070" r:id="rId108"/>
    <p:sldId id="1067" r:id="rId109"/>
    <p:sldId id="1068" r:id="rId110"/>
    <p:sldId id="1069" r:id="rId111"/>
    <p:sldId id="1063" r:id="rId112"/>
    <p:sldId id="1058" r:id="rId113"/>
    <p:sldId id="1059" r:id="rId114"/>
    <p:sldId id="1008" r:id="rId115"/>
    <p:sldId id="643" r:id="rId116"/>
    <p:sldId id="1009" r:id="rId117"/>
    <p:sldId id="665" r:id="rId118"/>
    <p:sldId id="672" r:id="rId119"/>
    <p:sldId id="1010" r:id="rId120"/>
    <p:sldId id="1011" r:id="rId121"/>
    <p:sldId id="680" r:id="rId122"/>
    <p:sldId id="610" r:id="rId123"/>
    <p:sldId id="674" r:id="rId124"/>
    <p:sldId id="681" r:id="rId125"/>
    <p:sldId id="692" r:id="rId126"/>
    <p:sldId id="693" r:id="rId127"/>
    <p:sldId id="676" r:id="rId128"/>
    <p:sldId id="694" r:id="rId129"/>
    <p:sldId id="685" r:id="rId130"/>
    <p:sldId id="697" r:id="rId131"/>
    <p:sldId id="698" r:id="rId132"/>
    <p:sldId id="689" r:id="rId133"/>
    <p:sldId id="699" r:id="rId134"/>
    <p:sldId id="700" r:id="rId135"/>
    <p:sldId id="690" r:id="rId136"/>
    <p:sldId id="682" r:id="rId137"/>
    <p:sldId id="677" r:id="rId138"/>
    <p:sldId id="710" r:id="rId139"/>
    <p:sldId id="713" r:id="rId140"/>
    <p:sldId id="712" r:id="rId141"/>
    <p:sldId id="714" r:id="rId142"/>
    <p:sldId id="723" r:id="rId143"/>
    <p:sldId id="725" r:id="rId144"/>
    <p:sldId id="726" r:id="rId145"/>
    <p:sldId id="728" r:id="rId146"/>
    <p:sldId id="730" r:id="rId147"/>
    <p:sldId id="731" r:id="rId148"/>
    <p:sldId id="732" r:id="rId149"/>
    <p:sldId id="733" r:id="rId150"/>
    <p:sldId id="734" r:id="rId151"/>
    <p:sldId id="735" r:id="rId152"/>
    <p:sldId id="736" r:id="rId153"/>
    <p:sldId id="737" r:id="rId154"/>
    <p:sldId id="707" r:id="rId155"/>
    <p:sldId id="738" r:id="rId156"/>
    <p:sldId id="739" r:id="rId157"/>
    <p:sldId id="740" r:id="rId158"/>
    <p:sldId id="741" r:id="rId159"/>
    <p:sldId id="743" r:id="rId160"/>
    <p:sldId id="742" r:id="rId161"/>
    <p:sldId id="744" r:id="rId162"/>
    <p:sldId id="745" r:id="rId163"/>
    <p:sldId id="746" r:id="rId164"/>
    <p:sldId id="747" r:id="rId165"/>
    <p:sldId id="748" r:id="rId166"/>
    <p:sldId id="749" r:id="rId167"/>
    <p:sldId id="750" r:id="rId168"/>
    <p:sldId id="751" r:id="rId169"/>
    <p:sldId id="752" r:id="rId170"/>
    <p:sldId id="755" r:id="rId171"/>
    <p:sldId id="756" r:id="rId172"/>
    <p:sldId id="757" r:id="rId173"/>
    <p:sldId id="758" r:id="rId174"/>
    <p:sldId id="759" r:id="rId175"/>
    <p:sldId id="760" r:id="rId176"/>
    <p:sldId id="761" r:id="rId177"/>
    <p:sldId id="762" r:id="rId178"/>
    <p:sldId id="817" r:id="rId179"/>
    <p:sldId id="765" r:id="rId180"/>
    <p:sldId id="766" r:id="rId181"/>
    <p:sldId id="767" r:id="rId182"/>
    <p:sldId id="769" r:id="rId183"/>
    <p:sldId id="784" r:id="rId184"/>
    <p:sldId id="785" r:id="rId185"/>
    <p:sldId id="786" r:id="rId186"/>
    <p:sldId id="770" r:id="rId187"/>
    <p:sldId id="768" r:id="rId188"/>
    <p:sldId id="798" r:id="rId189"/>
    <p:sldId id="803" r:id="rId190"/>
    <p:sldId id="804" r:id="rId191"/>
    <p:sldId id="805" r:id="rId192"/>
    <p:sldId id="806" r:id="rId193"/>
    <p:sldId id="807" r:id="rId194"/>
    <p:sldId id="763" r:id="rId195"/>
    <p:sldId id="810" r:id="rId196"/>
    <p:sldId id="827" r:id="rId197"/>
    <p:sldId id="831" r:id="rId198"/>
    <p:sldId id="832" r:id="rId199"/>
    <p:sldId id="833" r:id="rId200"/>
    <p:sldId id="830" r:id="rId201"/>
    <p:sldId id="837" r:id="rId202"/>
    <p:sldId id="850" r:id="rId203"/>
    <p:sldId id="877" r:id="rId204"/>
    <p:sldId id="878" r:id="rId205"/>
    <p:sldId id="879" r:id="rId206"/>
    <p:sldId id="881" r:id="rId207"/>
    <p:sldId id="885" r:id="rId208"/>
    <p:sldId id="882" r:id="rId209"/>
    <p:sldId id="883" r:id="rId210"/>
    <p:sldId id="884" r:id="rId211"/>
    <p:sldId id="849" r:id="rId212"/>
    <p:sldId id="880" r:id="rId213"/>
    <p:sldId id="873" r:id="rId214"/>
    <p:sldId id="886" r:id="rId215"/>
    <p:sldId id="891" r:id="rId216"/>
    <p:sldId id="887" r:id="rId217"/>
    <p:sldId id="888" r:id="rId218"/>
    <p:sldId id="889" r:id="rId219"/>
    <p:sldId id="890" r:id="rId220"/>
    <p:sldId id="892" r:id="rId221"/>
    <p:sldId id="933" r:id="rId222"/>
    <p:sldId id="935" r:id="rId223"/>
    <p:sldId id="932" r:id="rId224"/>
    <p:sldId id="934" r:id="rId225"/>
    <p:sldId id="931" r:id="rId226"/>
    <p:sldId id="936" r:id="rId227"/>
    <p:sldId id="823" r:id="rId228"/>
    <p:sldId id="821" r:id="rId229"/>
    <p:sldId id="825" r:id="rId230"/>
    <p:sldId id="824" r:id="rId231"/>
    <p:sldId id="822" r:id="rId232"/>
    <p:sldId id="296" r:id="rId2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63"/>
            <p14:sldId id="1058"/>
            <p14:sldId id="1059"/>
          </p14:sldIdLst>
        </p14:section>
        <p14:section name="DEMO 3" id="{3CFF1FDD-1FE4-4B4E-BDE0-EF0CF34E584E}">
          <p14:sldIdLst>
            <p14:sldId id="1008"/>
            <p14:sldId id="643"/>
          </p14:sldIdLst>
        </p14:section>
        <p14:section name="DEMO 4" id="{5B15D6A0-FEAD-49FE-B7FF-0F9158923D9F}">
          <p14:sldIdLst>
            <p14:sldId id="1009"/>
            <p14:sldId id="665"/>
            <p14:sldId id="672"/>
          </p14:sldIdLst>
        </p14:section>
        <p14:section name="DEMO 5" id="{374993CF-7838-4273-8F76-EAA2A8A3643A}">
          <p14:sldIdLst>
            <p14:sldId id="1010"/>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D6"/>
    <a:srgbClr val="F2C812"/>
    <a:srgbClr val="575352"/>
    <a:srgbClr val="FFFFFF"/>
    <a:srgbClr val="742774"/>
    <a:srgbClr val="262626"/>
    <a:srgbClr val="8E98A7"/>
    <a:srgbClr val="768092"/>
    <a:srgbClr val="404040"/>
    <a:srgbClr val="FA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74" autoAdjust="0"/>
    <p:restoredTop sz="87540" autoAdjust="0"/>
  </p:normalViewPr>
  <p:slideViewPr>
    <p:cSldViewPr snapToGrid="0">
      <p:cViewPr varScale="1">
        <p:scale>
          <a:sx n="108" d="100"/>
          <a:sy n="108" d="100"/>
        </p:scale>
        <p:origin x="516" y="10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theme" Target="theme/theme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tableStyles" Target="tableStyles.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microsoft.com/office/2016/11/relationships/changesInfo" Target="changesInfos/changesInfo1.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microsoft.com/office/2015/10/relationships/revisionInfo" Target="revisionInfo.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slide" Target="slides/slide216.xml"/><Relationship Id="rId225" Type="http://schemas.openxmlformats.org/officeDocument/2006/relationships/slide" Target="slides/slide22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36" Type="http://schemas.openxmlformats.org/officeDocument/2006/relationships/viewProps" Target="viewProps.xml"/><Relationship Id="rId26" Type="http://schemas.openxmlformats.org/officeDocument/2006/relationships/slide" Target="slides/slide22.xml"/><Relationship Id="rId231" Type="http://schemas.openxmlformats.org/officeDocument/2006/relationships/slide" Target="slides/slide227.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presProps" Target="presProps.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227.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2: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6551125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2019 11: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2019 11: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29</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4: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2: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5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2:2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2:3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4:5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2: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4: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3:1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4:5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4:5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0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2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4/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4/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4/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4/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0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0.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0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1.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0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2.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1.png"/></Relationships>
</file>

<file path=ppt/slides/_rels/slide110.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4.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11.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5.png"/><Relationship Id="rId2" Type="http://schemas.openxmlformats.org/officeDocument/2006/relationships/notesSlide" Target="../notesSlides/notesSlide105.xml"/><Relationship Id="rId1" Type="http://schemas.openxmlformats.org/officeDocument/2006/relationships/slideLayout" Target="../slideLayouts/slideLayout42.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13.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5.png"/><Relationship Id="rId2" Type="http://schemas.openxmlformats.org/officeDocument/2006/relationships/notesSlide" Target="../notesSlides/notesSlide107.xml"/><Relationship Id="rId1" Type="http://schemas.openxmlformats.org/officeDocument/2006/relationships/slideLayout" Target="../slideLayouts/slideLayout42.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4.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89.sv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15.png"/><Relationship Id="rId4" Type="http://schemas.openxmlformats.org/officeDocument/2006/relationships/image" Target="../media/image14.png"/></Relationships>
</file>

<file path=ppt/slides/_rels/slide115.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45.sv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144.png"/><Relationship Id="rId5" Type="http://schemas.openxmlformats.org/officeDocument/2006/relationships/image" Target="../media/image15.png"/><Relationship Id="rId4" Type="http://schemas.openxmlformats.org/officeDocument/2006/relationships/image" Target="../media/image14.png"/></Relationships>
</file>

<file path=ppt/slides/_rels/slide116.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15.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18.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6.png"/><Relationship Id="rId7" Type="http://schemas.openxmlformats.org/officeDocument/2006/relationships/image" Target="../media/image28.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49.png"/><Relationship Id="rId4" Type="http://schemas.openxmlformats.org/officeDocument/2006/relationships/hyperlink" Target="http://fleitasarts.com/" TargetMode="External"/><Relationship Id="rId9" Type="http://schemas.openxmlformats.org/officeDocument/2006/relationships/image" Target="../media/image148.png"/></Relationships>
</file>

<file path=ppt/slides/_rels/slide119.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28.png"/><Relationship Id="rId7" Type="http://schemas.openxmlformats.org/officeDocument/2006/relationships/image" Target="../media/image147.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 Id="rId9" Type="http://schemas.openxmlformats.org/officeDocument/2006/relationships/image" Target="../media/image150.png"/></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3.gif"/><Relationship Id="rId5" Type="http://schemas.openxmlformats.org/officeDocument/2006/relationships/hyperlink" Target="https://go.microsoft.com/fwlink/?LinkId=2083007&amp;clcid=0x409" TargetMode="External"/><Relationship Id="rId4" Type="http://schemas.openxmlformats.org/officeDocument/2006/relationships/image" Target="../media/image32.png"/></Relationships>
</file>

<file path=ppt/slides/_rels/slide12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152.png"/><Relationship Id="rId9" Type="http://schemas.openxmlformats.org/officeDocument/2006/relationships/image" Target="../media/image150.png"/></Relationships>
</file>

<file path=ppt/slides/_rels/slide122.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5.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50.png"/><Relationship Id="rId5" Type="http://schemas.openxmlformats.org/officeDocument/2006/relationships/hyperlink" Target="http://fleitasarts.com/" TargetMode="External"/><Relationship Id="rId10" Type="http://schemas.openxmlformats.org/officeDocument/2006/relationships/image" Target="../media/image147.png"/><Relationship Id="rId4" Type="http://schemas.openxmlformats.org/officeDocument/2006/relationships/image" Target="../media/image28.png"/><Relationship Id="rId9" Type="http://schemas.openxmlformats.org/officeDocument/2006/relationships/image" Target="../media/image154.png"/></Relationships>
</file>

<file path=ppt/slides/_rels/slide12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56.png"/><Relationship Id="rId4" Type="http://schemas.openxmlformats.org/officeDocument/2006/relationships/image" Target="../media/image155.png"/></Relationships>
</file>

<file path=ppt/slides/_rels/slide12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59.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60.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61.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https://www.gartner.com/doc/reprints?id=1-57IQ201&amp;ct=180717&amp;st=sb"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62.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163.png"/></Relationships>
</file>

<file path=ppt/slides/_rels/slide13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5.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68.png"/><Relationship Id="rId7" Type="http://schemas.openxmlformats.org/officeDocument/2006/relationships/image" Target="../media/image15.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15.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5.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5.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6.jpeg"/><Relationship Id="rId4" Type="http://schemas.openxmlformats.org/officeDocument/2006/relationships/image" Target="../media/image35.png"/></Relationships>
</file>

<file path=ppt/slides/_rels/slide140.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image" Target="../media/image15.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15.pn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5.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15.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76.png"/><Relationship Id="rId7" Type="http://schemas.openxmlformats.org/officeDocument/2006/relationships/image" Target="../media/image15.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5.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5.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5.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15.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15.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7.png"/></Relationships>
</file>

<file path=ppt/slides/_rels/slide150.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15.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83.png"/><Relationship Id="rId7" Type="http://schemas.openxmlformats.org/officeDocument/2006/relationships/image" Target="../media/image15.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84.png"/><Relationship Id="rId7" Type="http://schemas.openxmlformats.org/officeDocument/2006/relationships/image" Target="../media/image15.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85.png"/><Relationship Id="rId7" Type="http://schemas.openxmlformats.org/officeDocument/2006/relationships/image" Target="../media/image15.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86.png"/><Relationship Id="rId7" Type="http://schemas.openxmlformats.org/officeDocument/2006/relationships/image" Target="../media/image15.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5.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5.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89.png"/><Relationship Id="rId7" Type="http://schemas.openxmlformats.org/officeDocument/2006/relationships/image" Target="../media/image15.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15.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191.png"/><Relationship Id="rId7" Type="http://schemas.openxmlformats.org/officeDocument/2006/relationships/image" Target="../media/image15.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gif"/><Relationship Id="rId15" Type="http://schemas.openxmlformats.org/officeDocument/2006/relationships/image" Target="../media/image5.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192.png"/><Relationship Id="rId7" Type="http://schemas.openxmlformats.org/officeDocument/2006/relationships/image" Target="../media/image15.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193.png"/><Relationship Id="rId7" Type="http://schemas.openxmlformats.org/officeDocument/2006/relationships/image" Target="../media/image15.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5.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3.xml.rels><?xml version="1.0" encoding="UTF-8" standalone="yes"?>
<Relationships xmlns="http://schemas.openxmlformats.org/package/2006/relationships"><Relationship Id="rId3" Type="http://schemas.openxmlformats.org/officeDocument/2006/relationships/image" Target="../media/image195.png"/><Relationship Id="rId7" Type="http://schemas.openxmlformats.org/officeDocument/2006/relationships/image" Target="../media/image1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5.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197.png"/><Relationship Id="rId7" Type="http://schemas.openxmlformats.org/officeDocument/2006/relationships/image" Target="../media/image15.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6.xml.rels><?xml version="1.0" encoding="UTF-8" standalone="yes"?>
<Relationships xmlns="http://schemas.openxmlformats.org/package/2006/relationships"><Relationship Id="rId3" Type="http://schemas.openxmlformats.org/officeDocument/2006/relationships/image" Target="../media/image198.png"/><Relationship Id="rId7" Type="http://schemas.openxmlformats.org/officeDocument/2006/relationships/image" Target="../media/image15.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7.xml.rels><?xml version="1.0" encoding="UTF-8" standalone="yes"?>
<Relationships xmlns="http://schemas.openxmlformats.org/package/2006/relationships"><Relationship Id="rId3" Type="http://schemas.openxmlformats.org/officeDocument/2006/relationships/image" Target="../media/image199.png"/><Relationship Id="rId7" Type="http://schemas.openxmlformats.org/officeDocument/2006/relationships/image" Target="../media/image15.png"/><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8.xml.rels><?xml version="1.0" encoding="UTF-8" standalone="yes"?>
<Relationships xmlns="http://schemas.openxmlformats.org/package/2006/relationships"><Relationship Id="rId3" Type="http://schemas.openxmlformats.org/officeDocument/2006/relationships/image" Target="../media/image200.png"/><Relationship Id="rId7" Type="http://schemas.openxmlformats.org/officeDocument/2006/relationships/image" Target="../media/image15.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69.xml.rels><?xml version="1.0" encoding="UTF-8" standalone="yes"?>
<Relationships xmlns="http://schemas.openxmlformats.org/package/2006/relationships"><Relationship Id="rId3" Type="http://schemas.openxmlformats.org/officeDocument/2006/relationships/image" Target="../media/image201.png"/><Relationship Id="rId7" Type="http://schemas.openxmlformats.org/officeDocument/2006/relationships/image" Target="../media/image15.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1.png"/><Relationship Id="rId4" Type="http://schemas.openxmlformats.org/officeDocument/2006/relationships/image" Target="../media/image50.png"/></Relationships>
</file>

<file path=ppt/slides/_rels/slide170.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15.png"/><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1.xml.rels><?xml version="1.0" encoding="UTF-8" standalone="yes"?>
<Relationships xmlns="http://schemas.openxmlformats.org/package/2006/relationships"><Relationship Id="rId3" Type="http://schemas.openxmlformats.org/officeDocument/2006/relationships/image" Target="../media/image203.png"/><Relationship Id="rId7" Type="http://schemas.openxmlformats.org/officeDocument/2006/relationships/image" Target="../media/image15.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2.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15.png"/><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3.xml.rels><?xml version="1.0" encoding="UTF-8" standalone="yes"?>
<Relationships xmlns="http://schemas.openxmlformats.org/package/2006/relationships"><Relationship Id="rId3" Type="http://schemas.openxmlformats.org/officeDocument/2006/relationships/image" Target="../media/image205.png"/><Relationship Id="rId7" Type="http://schemas.openxmlformats.org/officeDocument/2006/relationships/image" Target="../media/image15.png"/><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4.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15.png"/><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5.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15.png"/><Relationship Id="rId2" Type="http://schemas.openxmlformats.org/officeDocument/2006/relationships/notesSlide" Target="../notesSlides/notesSlide169.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76.xml.rels><?xml version="1.0" encoding="UTF-8" standalone="yes"?>
<Relationships xmlns="http://schemas.openxmlformats.org/package/2006/relationships"><Relationship Id="rId3" Type="http://schemas.openxmlformats.org/officeDocument/2006/relationships/image" Target="../media/image208.png"/><Relationship Id="rId7" Type="http://schemas.openxmlformats.org/officeDocument/2006/relationships/image" Target="../media/image15.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7.xml.rels><?xml version="1.0" encoding="UTF-8" standalone="yes"?>
<Relationships xmlns="http://schemas.openxmlformats.org/package/2006/relationships"><Relationship Id="rId3" Type="http://schemas.openxmlformats.org/officeDocument/2006/relationships/image" Target="../media/image209.png"/><Relationship Id="rId7" Type="http://schemas.openxmlformats.org/officeDocument/2006/relationships/image" Target="../media/image15.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8.xml.rels><?xml version="1.0" encoding="UTF-8" standalone="yes"?>
<Relationships xmlns="http://schemas.openxmlformats.org/package/2006/relationships"><Relationship Id="rId3" Type="http://schemas.openxmlformats.org/officeDocument/2006/relationships/image" Target="../media/image210.png"/><Relationship Id="rId7" Type="http://schemas.openxmlformats.org/officeDocument/2006/relationships/image" Target="../media/image15.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79.xml.rels><?xml version="1.0" encoding="UTF-8" standalone="yes"?>
<Relationships xmlns="http://schemas.openxmlformats.org/package/2006/relationships"><Relationship Id="rId3" Type="http://schemas.openxmlformats.org/officeDocument/2006/relationships/image" Target="../media/image211.png"/><Relationship Id="rId7" Type="http://schemas.openxmlformats.org/officeDocument/2006/relationships/image" Target="../media/image15.pn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3" Type="http://schemas.openxmlformats.org/officeDocument/2006/relationships/image" Target="../media/image212.png"/><Relationship Id="rId7" Type="http://schemas.openxmlformats.org/officeDocument/2006/relationships/image" Target="../media/image15.pn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1.xml.rels><?xml version="1.0" encoding="UTF-8" standalone="yes"?>
<Relationships xmlns="http://schemas.openxmlformats.org/package/2006/relationships"><Relationship Id="rId3" Type="http://schemas.openxmlformats.org/officeDocument/2006/relationships/image" Target="../media/image213.png"/><Relationship Id="rId7" Type="http://schemas.openxmlformats.org/officeDocument/2006/relationships/image" Target="../media/image15.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2.xml.rels><?xml version="1.0" encoding="UTF-8" standalone="yes"?>
<Relationships xmlns="http://schemas.openxmlformats.org/package/2006/relationships"><Relationship Id="rId3" Type="http://schemas.openxmlformats.org/officeDocument/2006/relationships/image" Target="../media/image214.png"/><Relationship Id="rId7" Type="http://schemas.openxmlformats.org/officeDocument/2006/relationships/image" Target="../media/image15.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15.png"/><Relationship Id="rId7" Type="http://schemas.openxmlformats.org/officeDocument/2006/relationships/image" Target="../media/image15.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15.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17.png"/><Relationship Id="rId7" Type="http://schemas.openxmlformats.org/officeDocument/2006/relationships/image" Target="../media/image15.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18.png"/><Relationship Id="rId7" Type="http://schemas.openxmlformats.org/officeDocument/2006/relationships/image" Target="../media/image15.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87.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9.png"/><Relationship Id="rId7" Type="http://schemas.openxmlformats.org/officeDocument/2006/relationships/image" Target="../media/image15.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21.png"/></Relationships>
</file>

<file path=ppt/slides/_rels/slide18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22.png"/><Relationship Id="rId7" Type="http://schemas.openxmlformats.org/officeDocument/2006/relationships/image" Target="../media/image14.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223.png"/></Relationships>
</file>

<file path=ppt/slides/_rels/slide189.xml.rels><?xml version="1.0" encoding="UTF-8" standalone="yes"?>
<Relationships xmlns="http://schemas.openxmlformats.org/package/2006/relationships"><Relationship Id="rId3" Type="http://schemas.openxmlformats.org/officeDocument/2006/relationships/image" Target="../media/image224.png"/><Relationship Id="rId7" Type="http://schemas.openxmlformats.org/officeDocument/2006/relationships/image" Target="../media/image15.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190.xml.rels><?xml version="1.0" encoding="UTF-8" standalone="yes"?>
<Relationships xmlns="http://schemas.openxmlformats.org/package/2006/relationships"><Relationship Id="rId3" Type="http://schemas.openxmlformats.org/officeDocument/2006/relationships/image" Target="../media/image225.png"/><Relationship Id="rId7" Type="http://schemas.openxmlformats.org/officeDocument/2006/relationships/image" Target="../media/image15.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1.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146.png"/><Relationship Id="rId7" Type="http://schemas.openxmlformats.org/officeDocument/2006/relationships/image" Target="../media/image28.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28.png"/><Relationship Id="rId7" Type="http://schemas.openxmlformats.org/officeDocument/2006/relationships/image" Target="../media/image227.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15.png"/><Relationship Id="rId2" Type="http://schemas.openxmlformats.org/officeDocument/2006/relationships/notesSlide" Target="../notesSlides/notesSlide187.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4.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4.jpeg"/></Relationships>
</file>

<file path=ppt/slides/_rels/slide200.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237.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8" Type="http://schemas.openxmlformats.org/officeDocument/2006/relationships/image" Target="../media/image243.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10" Type="http://schemas.openxmlformats.org/officeDocument/2006/relationships/image" Target="../media/image244.png"/><Relationship Id="rId4" Type="http://schemas.openxmlformats.org/officeDocument/2006/relationships/image" Target="../media/image147.png"/><Relationship Id="rId9" Type="http://schemas.openxmlformats.org/officeDocument/2006/relationships/image" Target="../media/image150.png"/></Relationships>
</file>

<file path=ppt/slides/_rels/slide209.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5.jpeg"/></Relationships>
</file>

<file path=ppt/slides/_rels/slide2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png"/><Relationship Id="rId7" Type="http://schemas.openxmlformats.org/officeDocument/2006/relationships/image" Target="../media/image14.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46.png"/><Relationship Id="rId10" Type="http://schemas.openxmlformats.org/officeDocument/2006/relationships/image" Target="../media/image150.png"/><Relationship Id="rId4" Type="http://schemas.openxmlformats.org/officeDocument/2006/relationships/image" Target="../media/image147.png"/><Relationship Id="rId9" Type="http://schemas.openxmlformats.org/officeDocument/2006/relationships/image" Target="../media/image243.png"/></Relationships>
</file>

<file path=ppt/slides/_rels/slide211.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48.png"/><Relationship Id="rId7" Type="http://schemas.openxmlformats.org/officeDocument/2006/relationships/image" Target="../media/image15.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21.png"/></Relationships>
</file>

<file path=ppt/slides/_rels/slide213.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21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21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6.jpeg"/></Relationships>
</file>

<file path=ppt/slides/_rels/slide220.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21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21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1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146.png"/><Relationship Id="rId7" Type="http://schemas.openxmlformats.org/officeDocument/2006/relationships/image" Target="../media/image28.png"/><Relationship Id="rId2" Type="http://schemas.openxmlformats.org/officeDocument/2006/relationships/notesSlide" Target="../notesSlides/notesSlide21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5.png"/><Relationship Id="rId2" Type="http://schemas.openxmlformats.org/officeDocument/2006/relationships/notesSlide" Target="../notesSlides/notesSlide218.xml"/><Relationship Id="rId1" Type="http://schemas.openxmlformats.org/officeDocument/2006/relationships/slideLayout" Target="../slideLayouts/slideLayout51.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2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60.png"/><Relationship Id="rId7" Type="http://schemas.openxmlformats.org/officeDocument/2006/relationships/image" Target="../media/image14.png"/><Relationship Id="rId2" Type="http://schemas.openxmlformats.org/officeDocument/2006/relationships/notesSlide" Target="../notesSlides/notesSlide219.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226.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146.png"/><Relationship Id="rId7" Type="http://schemas.openxmlformats.org/officeDocument/2006/relationships/image" Target="../media/image28.png"/><Relationship Id="rId2" Type="http://schemas.openxmlformats.org/officeDocument/2006/relationships/notesSlide" Target="../notesSlides/notesSlide22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8" Type="http://schemas.openxmlformats.org/officeDocument/2006/relationships/image" Target="../media/image262.png"/><Relationship Id="rId3" Type="http://schemas.openxmlformats.org/officeDocument/2006/relationships/image" Target="../media/image261.png"/><Relationship Id="rId7" Type="http://schemas.openxmlformats.org/officeDocument/2006/relationships/image" Target="../media/image15.png"/><Relationship Id="rId2" Type="http://schemas.openxmlformats.org/officeDocument/2006/relationships/notesSlide" Target="../notesSlides/notesSlide221.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228.xml.rels><?xml version="1.0" encoding="UTF-8" standalone="yes"?>
<Relationships xmlns="http://schemas.openxmlformats.org/package/2006/relationships"><Relationship Id="rId8" Type="http://schemas.openxmlformats.org/officeDocument/2006/relationships/image" Target="../media/image263.png"/><Relationship Id="rId13" Type="http://schemas.openxmlformats.org/officeDocument/2006/relationships/hyperlink" Target="https://github.com/hfleitas" TargetMode="External"/><Relationship Id="rId3" Type="http://schemas.openxmlformats.org/officeDocument/2006/relationships/image" Target="../media/image260.png"/><Relationship Id="rId7" Type="http://schemas.openxmlformats.org/officeDocument/2006/relationships/hyperlink" Target="http://fleitasarts.com/" TargetMode="External"/><Relationship Id="rId12" Type="http://schemas.openxmlformats.org/officeDocument/2006/relationships/image" Target="../media/image264.png"/><Relationship Id="rId17" Type="http://schemas.openxmlformats.org/officeDocument/2006/relationships/image" Target="../media/image15.png"/><Relationship Id="rId2" Type="http://schemas.openxmlformats.org/officeDocument/2006/relationships/notesSlide" Target="../notesSlides/notesSlide222.xml"/><Relationship Id="rId16" Type="http://schemas.openxmlformats.org/officeDocument/2006/relationships/image" Target="../media/image14.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262.png"/></Relationships>
</file>

<file path=ppt/slides/_rels/slide229.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223.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7.jpeg"/></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3.png"/></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102.png"/><Relationship Id="rId4" Type="http://schemas.openxmlformats.org/officeDocument/2006/relationships/image" Target="../media/image5.png"/></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1.png"/><Relationship Id="rId3" Type="http://schemas.openxmlformats.org/officeDocument/2006/relationships/image" Target="../media/image13.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5.png"/><Relationship Id="rId12" Type="http://schemas.openxmlformats.org/officeDocument/2006/relationships/image" Target="../media/image19.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7.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6.png"/><Relationship Id="rId14" Type="http://schemas.openxmlformats.org/officeDocument/2006/relationships/image" Target="../media/image20.png"/><Relationship Id="rId22"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89.sv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microsoft.com/office/2007/relationships/hdphoto" Target="../media/hdphoto3.wdp"/></Relationships>
</file>

<file path=ppt/slides/_rels/slide8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9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339062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4938932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78829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2965872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7609554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207</TotalTime>
  <Words>12148</Words>
  <Application>Microsoft Office PowerPoint</Application>
  <PresentationFormat>Widescreen</PresentationFormat>
  <Paragraphs>1391</Paragraphs>
  <Slides>229</Slides>
  <Notes>223</Notes>
  <HiddenSlides>1</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29</vt:i4>
      </vt:variant>
    </vt:vector>
  </HeadingPairs>
  <TitlesOfParts>
    <vt:vector size="247"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615</cp:revision>
  <dcterms:created xsi:type="dcterms:W3CDTF">2016-05-30T15:33:26Z</dcterms:created>
  <dcterms:modified xsi:type="dcterms:W3CDTF">2019-05-04T20:59:19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